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313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817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Kbx9I-R8xVQ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8C712BCB-FF09-4FF7-B61F-C70CABF2FEA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83" r="2458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 January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essica Chastain, Lupita Nyong’o, Diane Krug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imon </a:t>
            </a:r>
            <a:r>
              <a:rPr lang="en-US" dirty="0" err="1">
                <a:solidFill>
                  <a:schemeClr val="accent6"/>
                </a:solidFill>
              </a:rPr>
              <a:t>Kinberg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Dark Phoenix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Ocean’s 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With a stacked cast, this new action film promises the fun of the all-women </a:t>
            </a:r>
            <a:r>
              <a:rPr lang="en-US" i="1" dirty="0">
                <a:solidFill>
                  <a:schemeClr val="accent6"/>
                </a:solidFill>
              </a:rPr>
              <a:t>Ocean’s 8 </a:t>
            </a:r>
            <a:r>
              <a:rPr lang="en-US" dirty="0">
                <a:solidFill>
                  <a:schemeClr val="accent6"/>
                </a:solidFill>
              </a:rPr>
              <a:t>with the gritty, high-octane thrills of </a:t>
            </a:r>
            <a:r>
              <a:rPr lang="en-US" i="1" dirty="0">
                <a:solidFill>
                  <a:schemeClr val="accent6"/>
                </a:solidFill>
              </a:rPr>
              <a:t>Atomic Blonde</a:t>
            </a:r>
            <a:r>
              <a:rPr lang="en-US" dirty="0">
                <a:solidFill>
                  <a:schemeClr val="accent6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8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06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When a top-secret weapon falls into enemy hands, a wild card CIA agent assembles a team of international agents for a mission to retrieve it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355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dirty="0"/>
              <a:t>n original action thriller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992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355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The 355</dc:description>
  <cp:lastModifiedBy/>
  <cp:revision>1</cp:revision>
  <dcterms:created xsi:type="dcterms:W3CDTF">2019-03-25T11:13:20Z</dcterms:created>
  <dcterms:modified xsi:type="dcterms:W3CDTF">2022-01-19T16:59:2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The 355</vt:lpwstr>
  </property>
</Properties>
</file>